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85" r:id="rId2"/>
  </p:sldIdLst>
  <p:sldSz cx="9144000" cy="6858000" type="screen4x3"/>
  <p:notesSz cx="6858000" cy="9144000"/>
  <p:custDataLst>
    <p:tags r:id="rId4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1192D0F-50A1-AFB6-4623-219713C9FEB0}" name="Cvanová Michaela RNDr." initials="CMR" userId="S::uzucvanovam@mznet.cz::005f6f83-480f-46b8-a8c0-5693742f3d5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800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1656" autoAdjust="0"/>
  </p:normalViewPr>
  <p:slideViewPr>
    <p:cSldViewPr snapToGrid="0">
      <p:cViewPr varScale="1">
        <p:scale>
          <a:sx n="103" d="100"/>
          <a:sy n="103" d="100"/>
        </p:scale>
        <p:origin x="1836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Relationship Id="rId9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D6832A-E672-49D4-B2BF-8ADB88AD040F}" type="datetimeFigureOut">
              <a:rPr lang="cs-CZ" smtClean="0"/>
              <a:t>11.03.2025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2E398D-CDA8-4D64-A1ED-CAAB3EF08BCB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238835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2E398D-CDA8-4D64-A1ED-CAAB3EF08BCB}" type="slidenum">
              <a:rPr lang="cs-CZ" smtClean="0"/>
              <a:t>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464266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Úvodní sníme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5" name="Obdélník 4"/>
          <p:cNvSpPr>
            <a:spLocks noChangeArrowheads="1"/>
          </p:cNvSpPr>
          <p:nvPr/>
        </p:nvSpPr>
        <p:spPr bwMode="white">
          <a:xfrm>
            <a:off x="8991600" y="3175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6" name="Obdélník 5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7" name="Obdélník 6"/>
          <p:cNvSpPr>
            <a:spLocks noChangeArrowheads="1"/>
          </p:cNvSpPr>
          <p:nvPr/>
        </p:nvSpPr>
        <p:spPr bwMode="white">
          <a:xfrm>
            <a:off x="0" y="0"/>
            <a:ext cx="9144000" cy="25146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" name="Obdélník 9"/>
          <p:cNvSpPr>
            <a:spLocks noChangeArrowheads="1"/>
          </p:cNvSpPr>
          <p:nvPr/>
        </p:nvSpPr>
        <p:spPr bwMode="auto">
          <a:xfrm>
            <a:off x="146051" y="6391277"/>
            <a:ext cx="8832850" cy="466725"/>
          </a:xfrm>
          <a:prstGeom prst="rect">
            <a:avLst/>
          </a:prstGeom>
          <a:solidFill>
            <a:srgbClr val="D7E1E1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1" name="Přímá spojovací čára 10"/>
          <p:cNvSpPr>
            <a:spLocks noChangeShapeType="1"/>
          </p:cNvSpPr>
          <p:nvPr/>
        </p:nvSpPr>
        <p:spPr bwMode="auto">
          <a:xfrm>
            <a:off x="155576" y="2419350"/>
            <a:ext cx="8832850" cy="0"/>
          </a:xfrm>
          <a:prstGeom prst="line">
            <a:avLst/>
          </a:prstGeom>
          <a:noFill/>
          <a:ln w="11430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2" name="Obdélník 11"/>
          <p:cNvSpPr>
            <a:spLocks noChangeArrowheads="1"/>
          </p:cNvSpPr>
          <p:nvPr/>
        </p:nvSpPr>
        <p:spPr bwMode="auto">
          <a:xfrm>
            <a:off x="152400" y="152400"/>
            <a:ext cx="8832850" cy="6705600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3" name="Elipsa 12"/>
          <p:cNvSpPr/>
          <p:nvPr/>
        </p:nvSpPr>
        <p:spPr>
          <a:xfrm>
            <a:off x="4267200" y="2114550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4" name="Elipsa 13"/>
          <p:cNvSpPr/>
          <p:nvPr/>
        </p:nvSpPr>
        <p:spPr>
          <a:xfrm>
            <a:off x="4362450" y="2209800"/>
            <a:ext cx="419100" cy="420688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9" name="Podnadpis 8"/>
          <p:cNvSpPr>
            <a:spLocks noGrp="1"/>
          </p:cNvSpPr>
          <p:nvPr>
            <p:ph type="subTitle" idx="1"/>
          </p:nvPr>
        </p:nvSpPr>
        <p:spPr>
          <a:xfrm>
            <a:off x="1371600" y="2819400"/>
            <a:ext cx="6400800" cy="1752600"/>
          </a:xfrm>
        </p:spPr>
        <p:txBody>
          <a:bodyPr/>
          <a:lstStyle>
            <a:lvl1pPr marL="0" indent="0" algn="ctr">
              <a:buNone/>
              <a:defRPr sz="1200" b="1" cap="all" spc="188" baseline="0">
                <a:solidFill>
                  <a:schemeClr val="tx2"/>
                </a:solidFill>
              </a:defRPr>
            </a:lvl1pPr>
            <a:lvl2pPr marL="342900" indent="0" algn="ctr">
              <a:buNone/>
            </a:lvl2pPr>
            <a:lvl3pPr marL="685800" indent="0" algn="ctr">
              <a:buNone/>
            </a:lvl3pPr>
            <a:lvl4pPr marL="1028700" indent="0" algn="ctr">
              <a:buNone/>
            </a:lvl4pPr>
            <a:lvl5pPr marL="1371600" indent="0" algn="ctr">
              <a:buNone/>
            </a:lvl5pPr>
            <a:lvl6pPr marL="1714500" indent="0" algn="ctr">
              <a:buNone/>
            </a:lvl6pPr>
            <a:lvl7pPr marL="2057400" indent="0" algn="ctr">
              <a:buNone/>
            </a:lvl7pPr>
            <a:lvl8pPr marL="2400300" indent="0" algn="ctr">
              <a:buNone/>
            </a:lvl8pPr>
            <a:lvl9pPr marL="2743200" indent="0" algn="ctr">
              <a:buNone/>
            </a:lvl9pPr>
          </a:lstStyle>
          <a:p>
            <a:r>
              <a:rPr lang="cs-CZ"/>
              <a:t>Klepnutím lze upravit styl předlohy podnadpisů.</a:t>
            </a:r>
            <a:endParaRPr lang="en-US"/>
          </a:p>
        </p:txBody>
      </p:sp>
      <p:sp>
        <p:nvSpPr>
          <p:cNvPr id="8" name="Nadpis 7"/>
          <p:cNvSpPr>
            <a:spLocks noGrp="1"/>
          </p:cNvSpPr>
          <p:nvPr>
            <p:ph type="ctrTitle"/>
          </p:nvPr>
        </p:nvSpPr>
        <p:spPr>
          <a:xfrm>
            <a:off x="685800" y="381000"/>
            <a:ext cx="7772400" cy="1752600"/>
          </a:xfrm>
        </p:spPr>
        <p:txBody>
          <a:bodyPr/>
          <a:lstStyle>
            <a:lvl1pPr>
              <a:defRPr sz="3150">
                <a:solidFill>
                  <a:schemeClr val="accent1"/>
                </a:solidFill>
              </a:defRPr>
            </a:lvl1pPr>
          </a:lstStyle>
          <a:p>
            <a:r>
              <a:rPr lang="cs-CZ"/>
              <a:t>Klepnutím lze upravit styl předlohy nadpisů.</a:t>
            </a:r>
            <a:endParaRPr lang="en-US"/>
          </a:p>
        </p:txBody>
      </p:sp>
      <p:sp>
        <p:nvSpPr>
          <p:cNvPr id="16" name="Zástupný symbol pro datum 2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19BE8F-E050-4C3C-9814-D6EC8D55BDA4}" type="datetime1">
              <a:rPr lang="cs-CZ"/>
              <a:pPr>
                <a:defRPr/>
              </a:pPr>
              <a:t>11.03.2025</a:t>
            </a:fld>
            <a:endParaRPr lang="cs-CZ"/>
          </a:p>
        </p:txBody>
      </p:sp>
      <p:sp>
        <p:nvSpPr>
          <p:cNvPr id="18" name="Zástupný symbol pro číslo snímku 28"/>
          <p:cNvSpPr>
            <a:spLocks noGrp="1"/>
          </p:cNvSpPr>
          <p:nvPr>
            <p:ph type="sldNum" sz="quarter" idx="12"/>
          </p:nvPr>
        </p:nvSpPr>
        <p:spPr>
          <a:xfrm>
            <a:off x="4343400" y="2198690"/>
            <a:ext cx="457200" cy="441325"/>
          </a:xfrm>
        </p:spPr>
        <p:txBody>
          <a:bodyPr/>
          <a:lstStyle>
            <a:lvl1pPr>
              <a:defRPr>
                <a:solidFill>
                  <a:schemeClr val="accent3">
                    <a:shade val="75000"/>
                  </a:schemeClr>
                </a:solidFill>
              </a:defRPr>
            </a:lvl1pPr>
          </a:lstStyle>
          <a:p>
            <a:pPr>
              <a:defRPr/>
            </a:pPr>
            <a:fld id="{036E1D8A-CBB2-4B24-B7B3-E30E3B97490E}" type="slidenum">
              <a:rPr lang="cs-CZ">
                <a:solidFill>
                  <a:srgbClr val="8CADAE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cs-CZ">
              <a:solidFill>
                <a:srgbClr val="8CADAE">
                  <a:shade val="75000"/>
                </a:srgbClr>
              </a:solidFill>
            </a:endParaRPr>
          </a:p>
        </p:txBody>
      </p:sp>
      <p:pic>
        <p:nvPicPr>
          <p:cNvPr id="19" name="Picture 16" descr="logo-IBA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00584" y="6424438"/>
            <a:ext cx="410977" cy="388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Zástupný symbol pro zápatí 3"/>
          <p:cNvSpPr>
            <a:spLocks noGrp="1"/>
          </p:cNvSpPr>
          <p:nvPr>
            <p:ph type="ftr" sz="quarter" idx="11"/>
          </p:nvPr>
        </p:nvSpPr>
        <p:spPr>
          <a:xfrm>
            <a:off x="683568" y="6446665"/>
            <a:ext cx="3581400" cy="366713"/>
          </a:xfrm>
          <a:prstGeom prst="rect">
            <a:avLst/>
          </a:prstGeom>
        </p:spPr>
        <p:txBody>
          <a:bodyPr/>
          <a:lstStyle>
            <a:lvl1pPr>
              <a:defRPr i="1" smtClean="0">
                <a:latin typeface="Arial" pitchFamily="34" charset="0"/>
              </a:defRPr>
            </a:lvl1pPr>
          </a:lstStyle>
          <a:p>
            <a:pPr>
              <a:defRPr/>
            </a:pPr>
            <a:r>
              <a:rPr lang="cs-CZ" dirty="0"/>
              <a:t>Vytvořil Institut biostatistiky a analýz, Masarykova univerzita </a:t>
            </a:r>
            <a:br>
              <a:rPr lang="cs-CZ" dirty="0"/>
            </a:br>
            <a:r>
              <a:rPr lang="cs-CZ" dirty="0"/>
              <a:t>J. Jarkovský, L. Brožová</a:t>
            </a:r>
          </a:p>
        </p:txBody>
      </p:sp>
    </p:spTree>
    <p:extLst>
      <p:ext uri="{BB962C8B-B14F-4D97-AF65-F5344CB8AC3E}">
        <p14:creationId xmlns:p14="http://schemas.microsoft.com/office/powerpoint/2010/main" val="38400764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4" name="Obdélník 3"/>
          <p:cNvSpPr>
            <a:spLocks noChangeArrowheads="1"/>
          </p:cNvSpPr>
          <p:nvPr/>
        </p:nvSpPr>
        <p:spPr bwMode="white">
          <a:xfrm>
            <a:off x="0" y="2"/>
            <a:ext cx="9144000" cy="13938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5" name="Obdélník 4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6" name="Obdélník 5"/>
          <p:cNvSpPr>
            <a:spLocks noChangeArrowheads="1"/>
          </p:cNvSpPr>
          <p:nvPr/>
        </p:nvSpPr>
        <p:spPr bwMode="white">
          <a:xfrm>
            <a:off x="899160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7" name="Obdélník 6"/>
          <p:cNvSpPr>
            <a:spLocks noChangeArrowheads="1"/>
          </p:cNvSpPr>
          <p:nvPr/>
        </p:nvSpPr>
        <p:spPr bwMode="auto">
          <a:xfrm>
            <a:off x="149226" y="6388100"/>
            <a:ext cx="8832850" cy="469900"/>
          </a:xfrm>
          <a:prstGeom prst="rect">
            <a:avLst/>
          </a:prstGeom>
          <a:solidFill>
            <a:srgbClr val="D7E1E1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8" name="Obdélník 7"/>
          <p:cNvSpPr>
            <a:spLocks noChangeArrowheads="1"/>
          </p:cNvSpPr>
          <p:nvPr/>
        </p:nvSpPr>
        <p:spPr bwMode="auto">
          <a:xfrm>
            <a:off x="152400" y="155577"/>
            <a:ext cx="8832850" cy="6702425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9" name="Přímá spojovací čára 8"/>
          <p:cNvSpPr>
            <a:spLocks noChangeShapeType="1"/>
          </p:cNvSpPr>
          <p:nvPr/>
        </p:nvSpPr>
        <p:spPr bwMode="auto">
          <a:xfrm>
            <a:off x="152400" y="1276350"/>
            <a:ext cx="8832850" cy="0"/>
          </a:xfrm>
          <a:prstGeom prst="line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" name="Elipsa 9"/>
          <p:cNvSpPr/>
          <p:nvPr/>
        </p:nvSpPr>
        <p:spPr>
          <a:xfrm>
            <a:off x="4267200" y="955675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1" name="Elipsa 10"/>
          <p:cNvSpPr/>
          <p:nvPr/>
        </p:nvSpPr>
        <p:spPr>
          <a:xfrm>
            <a:off x="4362450" y="1050925"/>
            <a:ext cx="419100" cy="420688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>
              <a:solidFill>
                <a:prstClr val="white"/>
              </a:solidFill>
            </a:endParaRPr>
          </a:p>
        </p:txBody>
      </p:sp>
      <p:pic>
        <p:nvPicPr>
          <p:cNvPr id="12" name="Picture 16" descr="logo-IBA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00584" y="6424438"/>
            <a:ext cx="410977" cy="388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  <a:endParaRPr lang="en-US"/>
          </a:p>
        </p:txBody>
      </p:sp>
      <p:sp>
        <p:nvSpPr>
          <p:cNvPr id="1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8C414C-7B53-472E-BAB1-DC981D950C87}" type="datetime1">
              <a:rPr lang="cs-CZ"/>
              <a:pPr>
                <a:defRPr/>
              </a:pPr>
              <a:t>11.03.2025</a:t>
            </a:fld>
            <a:endParaRPr lang="cs-CZ"/>
          </a:p>
        </p:txBody>
      </p:sp>
      <p:sp>
        <p:nvSpPr>
          <p:cNvPr id="14" name="Zástupný symbol pro zápatí 3"/>
          <p:cNvSpPr>
            <a:spLocks noGrp="1"/>
          </p:cNvSpPr>
          <p:nvPr>
            <p:ph type="ftr" sz="quarter" idx="11"/>
          </p:nvPr>
        </p:nvSpPr>
        <p:spPr>
          <a:xfrm>
            <a:off x="683568" y="6446665"/>
            <a:ext cx="3581400" cy="366713"/>
          </a:xfrm>
          <a:prstGeom prst="rect">
            <a:avLst/>
          </a:prstGeom>
        </p:spPr>
        <p:txBody>
          <a:bodyPr/>
          <a:lstStyle>
            <a:lvl1pPr>
              <a:defRPr i="1" smtClean="0">
                <a:latin typeface="Arial" pitchFamily="34" charset="0"/>
              </a:defRPr>
            </a:lvl1pPr>
          </a:lstStyle>
          <a:p>
            <a:pPr>
              <a:defRPr/>
            </a:pPr>
            <a:r>
              <a:rPr lang="cs-CZ" dirty="0"/>
              <a:t>Vytvořil Institut biostatistiky a analýz, Masarykova univerzita </a:t>
            </a:r>
            <a:br>
              <a:rPr lang="cs-CZ" dirty="0"/>
            </a:br>
            <a:r>
              <a:rPr lang="cs-CZ" dirty="0"/>
              <a:t>J. Jarkovský, L. Brožová</a:t>
            </a:r>
          </a:p>
        </p:txBody>
      </p:sp>
      <p:sp>
        <p:nvSpPr>
          <p:cNvPr id="15" name="Zástupný symbol pro číslo snímku 4"/>
          <p:cNvSpPr>
            <a:spLocks noGrp="1"/>
          </p:cNvSpPr>
          <p:nvPr>
            <p:ph type="sldNum" sz="quarter" idx="12"/>
          </p:nvPr>
        </p:nvSpPr>
        <p:spPr>
          <a:xfrm>
            <a:off x="4343400" y="1036640"/>
            <a:ext cx="457200" cy="4413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5840BF-48BA-43BD-9A16-632094A4B4AF}" type="slidenum">
              <a:rPr lang="cs-CZ">
                <a:solidFill>
                  <a:srgbClr val="8CADAE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cs-CZ">
              <a:solidFill>
                <a:srgbClr val="8CADAE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55867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římá spojovací čára 4"/>
          <p:cNvSpPr>
            <a:spLocks noChangeShapeType="1"/>
          </p:cNvSpPr>
          <p:nvPr/>
        </p:nvSpPr>
        <p:spPr bwMode="auto">
          <a:xfrm>
            <a:off x="152400" y="533400"/>
            <a:ext cx="8832850" cy="0"/>
          </a:xfrm>
          <a:prstGeom prst="line">
            <a:avLst/>
          </a:prstGeom>
          <a:noFill/>
          <a:ln w="11430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6" name="Obdélník 5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7" name="Obdélník 6"/>
          <p:cNvSpPr>
            <a:spLocks noChangeArrowheads="1"/>
          </p:cNvSpPr>
          <p:nvPr/>
        </p:nvSpPr>
        <p:spPr bwMode="white">
          <a:xfrm>
            <a:off x="899160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8" name="Obdélník 7"/>
          <p:cNvSpPr>
            <a:spLocks noChangeArrowheads="1"/>
          </p:cNvSpPr>
          <p:nvPr/>
        </p:nvSpPr>
        <p:spPr bwMode="white">
          <a:xfrm>
            <a:off x="0" y="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9" name="Obdélník 8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" name="Obdélník 9"/>
          <p:cNvSpPr>
            <a:spLocks noChangeArrowheads="1"/>
          </p:cNvSpPr>
          <p:nvPr/>
        </p:nvSpPr>
        <p:spPr bwMode="auto">
          <a:xfrm>
            <a:off x="152400" y="152402"/>
            <a:ext cx="8832850" cy="301625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1" name="Obdélník 10"/>
          <p:cNvSpPr/>
          <p:nvPr/>
        </p:nvSpPr>
        <p:spPr>
          <a:xfrm>
            <a:off x="152400" y="609600"/>
            <a:ext cx="2743200" cy="5867400"/>
          </a:xfrm>
          <a:prstGeom prst="rect">
            <a:avLst/>
          </a:prstGeom>
          <a:solidFill>
            <a:schemeClr val="accent1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2" name="Obdélník 11"/>
          <p:cNvSpPr>
            <a:spLocks noChangeArrowheads="1"/>
          </p:cNvSpPr>
          <p:nvPr/>
        </p:nvSpPr>
        <p:spPr bwMode="auto">
          <a:xfrm>
            <a:off x="152400" y="155575"/>
            <a:ext cx="8832850" cy="6546850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3" name="Elipsa 12"/>
          <p:cNvSpPr/>
          <p:nvPr/>
        </p:nvSpPr>
        <p:spPr>
          <a:xfrm>
            <a:off x="1295400" y="228600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4" name="Elipsa 13"/>
          <p:cNvSpPr/>
          <p:nvPr/>
        </p:nvSpPr>
        <p:spPr>
          <a:xfrm>
            <a:off x="1390650" y="323850"/>
            <a:ext cx="419100" cy="419100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5" name="Obdélník 14"/>
          <p:cNvSpPr>
            <a:spLocks noChangeArrowheads="1"/>
          </p:cNvSpPr>
          <p:nvPr/>
        </p:nvSpPr>
        <p:spPr bwMode="auto">
          <a:xfrm>
            <a:off x="149226" y="6388100"/>
            <a:ext cx="8832850" cy="469900"/>
          </a:xfrm>
          <a:prstGeom prst="rect">
            <a:avLst/>
          </a:prstGeom>
          <a:solidFill>
            <a:srgbClr val="D7E1E1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pic>
        <p:nvPicPr>
          <p:cNvPr id="16" name="Picture 20" descr="logo-IBA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170364" y="6453188"/>
            <a:ext cx="360362" cy="341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21" descr="logomuni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03750" y="6408738"/>
            <a:ext cx="400050" cy="404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000375" y="5029200"/>
            <a:ext cx="5867400" cy="1219200"/>
          </a:xfrm>
        </p:spPr>
        <p:txBody>
          <a:bodyPr anchor="t">
            <a:noAutofit/>
          </a:bodyPr>
          <a:lstStyle>
            <a:lvl1pPr algn="l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r>
              <a:rPr lang="cs-CZ"/>
              <a:t>Klepnutím lze upravit styl předlohy nadpisů.</a:t>
            </a:r>
            <a:endParaRPr lang="en-US"/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3000375" y="609600"/>
            <a:ext cx="5867400" cy="4267200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cs-CZ" noProof="0"/>
              <a:t>Klepnutím na ikonu přidáte obrázek.</a:t>
            </a:r>
            <a:endParaRPr lang="en-US" noProof="0" dirty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381000" y="990600"/>
            <a:ext cx="2438400" cy="5257800"/>
          </a:xfrm>
        </p:spPr>
        <p:txBody>
          <a:bodyPr/>
          <a:lstStyle>
            <a:lvl1pPr marL="0" indent="0">
              <a:spcAft>
                <a:spcPts val="750"/>
              </a:spcAft>
              <a:buFontTx/>
              <a:buNone/>
              <a:defRPr sz="1200">
                <a:solidFill>
                  <a:srgbClr val="FFFFFF"/>
                </a:solidFill>
              </a:defRPr>
            </a:lvl1pPr>
            <a:lvl2pPr>
              <a:defRPr sz="900"/>
            </a:lvl2pPr>
            <a:lvl3pPr>
              <a:defRPr sz="750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cs-CZ"/>
              <a:t>Klepnutím lze upravit styly předlohy textu.</a:t>
            </a:r>
          </a:p>
        </p:txBody>
      </p:sp>
      <p:sp>
        <p:nvSpPr>
          <p:cNvPr id="18" name="Zástupný symbol pro číslo snímku 6"/>
          <p:cNvSpPr>
            <a:spLocks noGrp="1"/>
          </p:cNvSpPr>
          <p:nvPr>
            <p:ph type="sldNum" sz="quarter" idx="10"/>
          </p:nvPr>
        </p:nvSpPr>
        <p:spPr>
          <a:xfrm>
            <a:off x="1371600" y="312740"/>
            <a:ext cx="457200" cy="4413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68AA4C-38FB-42CA-A2B5-1C13FFEA9B69}" type="slidenum">
              <a:rPr lang="cs-CZ">
                <a:solidFill>
                  <a:srgbClr val="8CADAE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cs-CZ">
              <a:solidFill>
                <a:srgbClr val="8CADAE">
                  <a:shade val="75000"/>
                </a:srgbClr>
              </a:solidFill>
            </a:endParaRPr>
          </a:p>
        </p:txBody>
      </p:sp>
      <p:sp>
        <p:nvSpPr>
          <p:cNvPr id="19" name="Zástupný symbol pro datum 4"/>
          <p:cNvSpPr>
            <a:spLocks noGrp="1"/>
          </p:cNvSpPr>
          <p:nvPr>
            <p:ph type="dt" sz="half" idx="11"/>
          </p:nvPr>
        </p:nvSpPr>
        <p:spPr>
          <a:xfrm>
            <a:off x="5788026" y="6405565"/>
            <a:ext cx="3044825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571C8C-95FA-40E6-A23E-43FAEC9E1CC8}" type="datetime1">
              <a:rPr lang="cs-CZ"/>
              <a:pPr>
                <a:defRPr/>
              </a:pPr>
              <a:t>11.03.2025</a:t>
            </a:fld>
            <a:endParaRPr lang="cs-CZ"/>
          </a:p>
        </p:txBody>
      </p:sp>
      <p:sp>
        <p:nvSpPr>
          <p:cNvPr id="20" name="Zástupný symbol pro zápatí 5"/>
          <p:cNvSpPr>
            <a:spLocks noGrp="1"/>
          </p:cNvSpPr>
          <p:nvPr>
            <p:ph type="ftr" sz="quarter" idx="12"/>
          </p:nvPr>
        </p:nvSpPr>
        <p:spPr>
          <a:xfrm>
            <a:off x="301626" y="6410327"/>
            <a:ext cx="3584575" cy="366713"/>
          </a:xfrm>
          <a:prstGeom prst="rect">
            <a:avLst/>
          </a:prstGeom>
        </p:spPr>
        <p:txBody>
          <a:bodyPr/>
          <a:lstStyle>
            <a:lvl1pPr>
              <a:defRPr sz="675" smtClean="0">
                <a:latin typeface="Arial" pitchFamily="34" charset="0"/>
              </a:defRPr>
            </a:lvl1pPr>
          </a:lstStyle>
          <a:p>
            <a:pPr>
              <a:defRPr/>
            </a:pPr>
            <a:r>
              <a:rPr lang="cs-CZ"/>
              <a:t>Vytvořil Institut biostatistiky a analýz, Masarykova univerzita</a:t>
            </a:r>
          </a:p>
        </p:txBody>
      </p:sp>
    </p:spTree>
    <p:extLst>
      <p:ext uri="{BB962C8B-B14F-4D97-AF65-F5344CB8AC3E}">
        <p14:creationId xmlns:p14="http://schemas.microsoft.com/office/powerpoint/2010/main" val="16577725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9EECD9-9A9D-4ED8-B720-9447A17C5920}" type="datetime1">
              <a:rPr lang="cs-CZ"/>
              <a:pPr>
                <a:defRPr/>
              </a:pPr>
              <a:t>11.03.2025</a:t>
            </a:fld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489A55-5082-4E29-A7D1-942C4EE89689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531807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Obdélník 16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6" name="Obdélník 15"/>
          <p:cNvSpPr>
            <a:spLocks noChangeArrowheads="1"/>
          </p:cNvSpPr>
          <p:nvPr/>
        </p:nvSpPr>
        <p:spPr bwMode="white">
          <a:xfrm>
            <a:off x="0" y="2"/>
            <a:ext cx="9144000" cy="13938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8" name="Obdélník 17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9" name="Obdélník 18"/>
          <p:cNvSpPr>
            <a:spLocks noChangeArrowheads="1"/>
          </p:cNvSpPr>
          <p:nvPr/>
        </p:nvSpPr>
        <p:spPr bwMode="white">
          <a:xfrm>
            <a:off x="899160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9" name="Obdélník 8"/>
          <p:cNvSpPr>
            <a:spLocks noChangeArrowheads="1"/>
          </p:cNvSpPr>
          <p:nvPr/>
        </p:nvSpPr>
        <p:spPr bwMode="auto">
          <a:xfrm>
            <a:off x="149226" y="6388100"/>
            <a:ext cx="8832850" cy="469900"/>
          </a:xfrm>
          <a:prstGeom prst="rect">
            <a:avLst/>
          </a:prstGeom>
          <a:solidFill>
            <a:srgbClr val="D7E1E1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4" name="Zástupný symbol pro datum 13"/>
          <p:cNvSpPr>
            <a:spLocks noGrp="1"/>
          </p:cNvSpPr>
          <p:nvPr>
            <p:ph type="dt" sz="half" idx="2"/>
          </p:nvPr>
        </p:nvSpPr>
        <p:spPr>
          <a:xfrm>
            <a:off x="5791201" y="6405565"/>
            <a:ext cx="3044825" cy="365125"/>
          </a:xfrm>
          <a:prstGeom prst="rect">
            <a:avLst/>
          </a:prstGeom>
        </p:spPr>
        <p:txBody>
          <a:bodyPr vert="horz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050" b="0" i="0">
                <a:solidFill>
                  <a:srgbClr val="FFFFF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1F77581-F61D-4517-972C-775A665F2C85}" type="datetime1">
              <a:rPr lang="cs-CZ"/>
              <a:pPr>
                <a:defRPr/>
              </a:pPr>
              <a:t>11.03.2025</a:t>
            </a:fld>
            <a:endParaRPr lang="cs-CZ"/>
          </a:p>
        </p:txBody>
      </p:sp>
      <p:sp>
        <p:nvSpPr>
          <p:cNvPr id="8" name="Obdélník 7"/>
          <p:cNvSpPr>
            <a:spLocks noChangeArrowheads="1"/>
          </p:cNvSpPr>
          <p:nvPr/>
        </p:nvSpPr>
        <p:spPr bwMode="auto">
          <a:xfrm>
            <a:off x="152400" y="155577"/>
            <a:ext cx="8832850" cy="6702425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" name="Přímá spojovací čára 9"/>
          <p:cNvSpPr>
            <a:spLocks noChangeShapeType="1"/>
          </p:cNvSpPr>
          <p:nvPr/>
        </p:nvSpPr>
        <p:spPr bwMode="auto">
          <a:xfrm>
            <a:off x="152400" y="1276350"/>
            <a:ext cx="8832850" cy="0"/>
          </a:xfrm>
          <a:prstGeom prst="line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2" name="Elipsa 11"/>
          <p:cNvSpPr/>
          <p:nvPr/>
        </p:nvSpPr>
        <p:spPr>
          <a:xfrm>
            <a:off x="4267200" y="955675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5" name="Elipsa 14"/>
          <p:cNvSpPr/>
          <p:nvPr/>
        </p:nvSpPr>
        <p:spPr>
          <a:xfrm>
            <a:off x="4362450" y="1050925"/>
            <a:ext cx="419100" cy="420688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23" name="Zástupný symbol pro číslo snímku 22"/>
          <p:cNvSpPr>
            <a:spLocks noGrp="1"/>
          </p:cNvSpPr>
          <p:nvPr>
            <p:ph type="sldNum" sz="quarter" idx="4"/>
          </p:nvPr>
        </p:nvSpPr>
        <p:spPr>
          <a:xfrm>
            <a:off x="4343400" y="1039815"/>
            <a:ext cx="457200" cy="441325"/>
          </a:xfrm>
          <a:prstGeom prst="rect">
            <a:avLst/>
          </a:prstGeom>
        </p:spPr>
        <p:txBody>
          <a:bodyPr vert="horz" lIns="45720" rIns="45720" anchor="ctr">
            <a:normAutofit/>
          </a:bodyPr>
          <a:lstStyle>
            <a:lvl1pPr algn="ct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 b="0" i="0">
                <a:solidFill>
                  <a:schemeClr val="accent3">
                    <a:shade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2052ECD-D51C-402B-8D1E-D191B99D66A0}" type="slidenum">
              <a:rPr lang="cs-CZ">
                <a:solidFill>
                  <a:srgbClr val="8CADAE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cs-CZ">
              <a:solidFill>
                <a:srgbClr val="8CADAE">
                  <a:shade val="75000"/>
                </a:srgbClr>
              </a:solidFill>
            </a:endParaRPr>
          </a:p>
        </p:txBody>
      </p:sp>
      <p:sp>
        <p:nvSpPr>
          <p:cNvPr id="112654" name="Zástupný symbol pro nadpis 21"/>
          <p:cNvSpPr>
            <a:spLocks noGrp="1"/>
          </p:cNvSpPr>
          <p:nvPr>
            <p:ph type="title"/>
          </p:nvPr>
        </p:nvSpPr>
        <p:spPr bwMode="auto">
          <a:xfrm>
            <a:off x="301625" y="228602"/>
            <a:ext cx="8534400" cy="758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cs-CZ"/>
              <a:t>Klepnutím lze upravit styl předlohy nadpisů.</a:t>
            </a:r>
            <a:endParaRPr lang="en-US"/>
          </a:p>
        </p:txBody>
      </p:sp>
      <p:sp>
        <p:nvSpPr>
          <p:cNvPr id="112655" name="Zástupný symbol pro text 12"/>
          <p:cNvSpPr>
            <a:spLocks noGrp="1"/>
          </p:cNvSpPr>
          <p:nvPr>
            <p:ph type="body" idx="1"/>
          </p:nvPr>
        </p:nvSpPr>
        <p:spPr bwMode="auto">
          <a:xfrm>
            <a:off x="301625" y="1524000"/>
            <a:ext cx="8534400" cy="4598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64565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hf sldNum="0"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475" b="1" kern="1200">
          <a:solidFill>
            <a:srgbClr val="7B9899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475" b="1">
          <a:solidFill>
            <a:srgbClr val="7B9899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475" b="1">
          <a:solidFill>
            <a:srgbClr val="7B9899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475" b="1">
          <a:solidFill>
            <a:srgbClr val="7B9899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475" b="1">
          <a:solidFill>
            <a:srgbClr val="7B9899"/>
          </a:solidFill>
          <a:latin typeface="Calibri" pitchFamily="34" charset="0"/>
        </a:defRPr>
      </a:lvl5pPr>
      <a:lvl6pPr marL="342900" algn="ctr" rtl="0" fontAlgn="base">
        <a:spcBef>
          <a:spcPct val="0"/>
        </a:spcBef>
        <a:spcAft>
          <a:spcPct val="0"/>
        </a:spcAft>
        <a:defRPr sz="2475" b="1">
          <a:solidFill>
            <a:srgbClr val="7B9899"/>
          </a:solidFill>
          <a:latin typeface="Calibri" pitchFamily="34" charset="0"/>
        </a:defRPr>
      </a:lvl6pPr>
      <a:lvl7pPr marL="685800" algn="ctr" rtl="0" fontAlgn="base">
        <a:spcBef>
          <a:spcPct val="0"/>
        </a:spcBef>
        <a:spcAft>
          <a:spcPct val="0"/>
        </a:spcAft>
        <a:defRPr sz="2475" b="1">
          <a:solidFill>
            <a:srgbClr val="7B9899"/>
          </a:solidFill>
          <a:latin typeface="Calibri" pitchFamily="34" charset="0"/>
        </a:defRPr>
      </a:lvl7pPr>
      <a:lvl8pPr marL="1028700" algn="ctr" rtl="0" fontAlgn="base">
        <a:spcBef>
          <a:spcPct val="0"/>
        </a:spcBef>
        <a:spcAft>
          <a:spcPct val="0"/>
        </a:spcAft>
        <a:defRPr sz="2475" b="1">
          <a:solidFill>
            <a:srgbClr val="7B9899"/>
          </a:solidFill>
          <a:latin typeface="Calibri" pitchFamily="34" charset="0"/>
        </a:defRPr>
      </a:lvl8pPr>
      <a:lvl9pPr marL="1371600" algn="ctr" rtl="0" fontAlgn="base">
        <a:spcBef>
          <a:spcPct val="0"/>
        </a:spcBef>
        <a:spcAft>
          <a:spcPct val="0"/>
        </a:spcAft>
        <a:defRPr sz="2475" b="1">
          <a:solidFill>
            <a:srgbClr val="7B9899"/>
          </a:solidFill>
          <a:latin typeface="Calibri" pitchFamily="34" charset="0"/>
        </a:defRPr>
      </a:lvl9pPr>
    </p:titleStyle>
    <p:bodyStyle>
      <a:lvl1pPr marL="204788" indent="-20478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5000"/>
        <a:buFont typeface="Wingdings 2" pitchFamily="18" charset="2"/>
        <a:buChar char=""/>
        <a:defRPr sz="2025" kern="1200">
          <a:solidFill>
            <a:schemeClr val="tx1"/>
          </a:solidFill>
          <a:latin typeface="+mn-lt"/>
          <a:ea typeface="+mn-ea"/>
          <a:cs typeface="+mn-cs"/>
        </a:defRPr>
      </a:lvl1pPr>
      <a:lvl2pPr marL="410766" indent="-20478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"/>
        <a:defRPr sz="1650" kern="1200">
          <a:solidFill>
            <a:schemeClr val="tx2"/>
          </a:solidFill>
          <a:latin typeface="+mn-lt"/>
          <a:ea typeface="+mn-ea"/>
          <a:cs typeface="+mn-cs"/>
        </a:defRPr>
      </a:lvl2pPr>
      <a:lvl3pPr marL="616744" indent="-171450" algn="l" rtl="0" eaLnBrk="0" fontAlgn="base" hangingPunct="0">
        <a:spcBef>
          <a:spcPct val="20000"/>
        </a:spcBef>
        <a:spcAft>
          <a:spcPct val="0"/>
        </a:spcAft>
        <a:buClr>
          <a:srgbClr val="8CADAE"/>
        </a:buClr>
        <a:buSzPct val="75000"/>
        <a:buFont typeface="Wingdings 2" pitchFamily="18" charset="2"/>
        <a:buChar char="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822722" indent="-171450" algn="l" rtl="0" eaLnBrk="0" fontAlgn="base" hangingPunct="0">
        <a:spcBef>
          <a:spcPct val="20000"/>
        </a:spcBef>
        <a:spcAft>
          <a:spcPct val="0"/>
        </a:spcAft>
        <a:buClr>
          <a:srgbClr val="8C7B70"/>
        </a:buClr>
        <a:buSzPct val="70000"/>
        <a:buFont typeface="Wingdings" pitchFamily="2" charset="2"/>
        <a:buChar char=""/>
        <a:defRPr sz="1500" kern="1200">
          <a:solidFill>
            <a:schemeClr val="tx2"/>
          </a:solidFill>
          <a:latin typeface="+mn-lt"/>
          <a:ea typeface="+mn-ea"/>
          <a:cs typeface="+mn-cs"/>
        </a:defRPr>
      </a:lvl4pPr>
      <a:lvl5pPr marL="1028700" indent="-171450" algn="l" rtl="0" eaLnBrk="0" fontAlgn="base" hangingPunct="0">
        <a:spcBef>
          <a:spcPct val="20000"/>
        </a:spcBef>
        <a:spcAft>
          <a:spcPct val="0"/>
        </a:spcAft>
        <a:buClr>
          <a:srgbClr val="8FB08C"/>
        </a:buClr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234440" indent="-13716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1440180" indent="-137160" algn="l" rtl="0" eaLnBrk="1" latinLnBrk="0" hangingPunct="1">
        <a:spcBef>
          <a:spcPct val="20000"/>
        </a:spcBef>
        <a:buClr>
          <a:schemeClr val="accent1">
            <a:shade val="75000"/>
          </a:schemeClr>
        </a:buClr>
        <a:buSzPct val="90000"/>
        <a:buChar char="•"/>
        <a:defRPr kumimoji="0" sz="12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577340" indent="-137160" algn="l" rtl="0" eaLnBrk="1" latinLnBrk="0" hangingPunct="1">
        <a:spcBef>
          <a:spcPct val="20000"/>
        </a:spcBef>
        <a:buClr>
          <a:schemeClr val="accent4">
            <a:shade val="75000"/>
          </a:schemeClr>
        </a:buClr>
        <a:buChar char="•"/>
        <a:defRPr kumimoji="0"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783080" indent="-137160" algn="l" rtl="0" eaLnBrk="1" latinLnBrk="0" hangingPunct="1">
        <a:spcBef>
          <a:spcPct val="20000"/>
        </a:spcBef>
        <a:buClr>
          <a:schemeClr val="accent2">
            <a:shade val="75000"/>
          </a:schemeClr>
        </a:buClr>
        <a:buSzPct val="90000"/>
        <a:buChar char="•"/>
        <a:defRPr kumimoji="0" sz="1050" kern="1200" cap="all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0246FD9-0CC3-4CAF-B327-4484D6AC7D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E8600 + E8601: Osnova předmětu – jaro 2025</a:t>
            </a:r>
            <a:endParaRPr lang="en-US" dirty="0"/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34C454CC-8C23-476F-AEAC-AB016E536A86}"/>
              </a:ext>
            </a:extLst>
          </p:cNvPr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310503" y="1587975"/>
            <a:ext cx="8534400" cy="5130167"/>
          </a:xfrm>
        </p:spPr>
        <p:txBody>
          <a:bodyPr/>
          <a:lstStyle/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cs-CZ" sz="15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8. 2</a:t>
            </a:r>
            <a:r>
              <a:rPr lang="cs-CZ" sz="15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cs-CZ" sz="1500" dirty="0">
                <a:solidFill>
                  <a:srgbClr val="00B05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řednáška</a:t>
            </a:r>
            <a:endParaRPr lang="en-US" sz="15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cs-CZ" sz="15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5. 2</a:t>
            </a:r>
            <a:r>
              <a:rPr lang="cs-CZ" sz="15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cs-CZ" sz="15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ráce v softwaru R (</a:t>
            </a:r>
            <a:r>
              <a:rPr lang="cs-CZ" sz="1500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cs-CZ" sz="15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 cvičení</a:t>
            </a:r>
            <a:r>
              <a:rPr lang="cs-CZ" sz="15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  <a:p>
            <a:pPr marL="342900" indent="-342900">
              <a:lnSpc>
                <a:spcPct val="107000"/>
              </a:lnSpc>
              <a:buFont typeface="+mj-lt"/>
              <a:buAutoNum type="arabicPeriod"/>
            </a:pPr>
            <a:r>
              <a:rPr lang="cs-CZ" sz="15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4. 3</a:t>
            </a:r>
            <a:r>
              <a:rPr lang="cs-CZ" sz="15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cs-CZ" sz="1500" dirty="0">
                <a:solidFill>
                  <a:srgbClr val="00B05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řednáška</a:t>
            </a:r>
            <a:r>
              <a:rPr lang="cs-CZ" sz="15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en-US" sz="15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buFont typeface="+mj-lt"/>
              <a:buAutoNum type="arabicPeriod"/>
            </a:pPr>
            <a:r>
              <a:rPr lang="cs-CZ" sz="15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1</a:t>
            </a:r>
            <a:r>
              <a:rPr lang="cs-CZ" sz="15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3. </a:t>
            </a:r>
            <a:r>
              <a:rPr lang="cs-CZ" sz="15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stování hypotéz </a:t>
            </a:r>
            <a:r>
              <a:rPr lang="en-US" sz="15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&amp; </a:t>
            </a:r>
            <a:r>
              <a:rPr lang="cs-CZ" sz="15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ednorozměrné statistické testy (</a:t>
            </a:r>
            <a:r>
              <a:rPr lang="cs-CZ" sz="15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h cvičení</a:t>
            </a:r>
            <a:r>
              <a:rPr lang="cs-CZ" sz="15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 </a:t>
            </a:r>
          </a:p>
          <a:p>
            <a:pPr marL="342900" indent="-342900">
              <a:lnSpc>
                <a:spcPct val="107000"/>
              </a:lnSpc>
              <a:buFont typeface="+mj-lt"/>
              <a:buAutoNum type="arabicPeriod"/>
            </a:pPr>
            <a:r>
              <a:rPr lang="cs-CZ" sz="15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8. 3. </a:t>
            </a:r>
            <a:r>
              <a:rPr lang="cs-CZ" sz="1500" dirty="0">
                <a:solidFill>
                  <a:srgbClr val="00B05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řednáška</a:t>
            </a:r>
            <a:endParaRPr lang="cs-CZ" sz="15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buFont typeface="+mj-lt"/>
              <a:buAutoNum type="arabicPeriod"/>
            </a:pPr>
            <a:r>
              <a:rPr lang="cs-CZ" sz="15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5</a:t>
            </a:r>
            <a:r>
              <a:rPr lang="cs-CZ" sz="15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3.</a:t>
            </a:r>
            <a:r>
              <a:rPr lang="cs-CZ" sz="15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sociační matice (</a:t>
            </a:r>
            <a:r>
              <a:rPr lang="cs-CZ" sz="1500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cs-CZ" sz="15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 cvičení</a:t>
            </a:r>
            <a:r>
              <a:rPr lang="cs-CZ" sz="15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  <a:p>
            <a:pPr marL="342900" indent="-342900">
              <a:lnSpc>
                <a:spcPct val="107000"/>
              </a:lnSpc>
              <a:buFont typeface="+mj-lt"/>
              <a:buAutoNum type="arabicPeriod"/>
            </a:pPr>
            <a:r>
              <a:rPr lang="cs-CZ" sz="15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cs-CZ" sz="15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4. </a:t>
            </a:r>
            <a:r>
              <a:rPr lang="cs-CZ" sz="15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luková analýza (</a:t>
            </a:r>
            <a:r>
              <a:rPr lang="cs-CZ" sz="1500" dirty="0">
                <a:solidFill>
                  <a:srgbClr val="FF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3h</a:t>
            </a:r>
            <a:r>
              <a:rPr lang="cs-CZ" sz="15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cvičení</a:t>
            </a:r>
            <a:r>
              <a:rPr lang="cs-CZ" sz="15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 </a:t>
            </a:r>
            <a:endParaRPr lang="cs-CZ" sz="1500" dirty="0">
              <a:solidFill>
                <a:srgbClr val="C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cs-CZ" sz="15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8. 4. </a:t>
            </a:r>
            <a:r>
              <a:rPr lang="cs-CZ" sz="1500" dirty="0">
                <a:highlight>
                  <a:srgbClr val="00FFFF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ísemka I.</a:t>
            </a: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cs-CZ" sz="15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5. 4. </a:t>
            </a:r>
            <a:r>
              <a:rPr lang="cs-CZ" sz="1500" dirty="0">
                <a:solidFill>
                  <a:srgbClr val="00B05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přednáška</a:t>
            </a:r>
            <a:r>
              <a:rPr lang="cs-CZ" sz="15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marL="342900" indent="-342900">
              <a:lnSpc>
                <a:spcPct val="107000"/>
              </a:lnSpc>
              <a:buFont typeface="+mj-lt"/>
              <a:buAutoNum type="arabicPeriod"/>
            </a:pPr>
            <a:r>
              <a:rPr lang="cs-CZ" sz="15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2</a:t>
            </a:r>
            <a:r>
              <a:rPr lang="cs-CZ" sz="15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4. </a:t>
            </a:r>
            <a:r>
              <a:rPr lang="cs-CZ" sz="15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alýza hlavních komponent </a:t>
            </a:r>
            <a:r>
              <a:rPr lang="cs-CZ" sz="15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cs-CZ" sz="1500" dirty="0">
                <a:solidFill>
                  <a:srgbClr val="FF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cs-CZ" sz="15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 cvičení</a:t>
            </a:r>
            <a:r>
              <a:rPr lang="cs-CZ" sz="15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endParaRPr lang="en-US" sz="15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buFont typeface="+mj-lt"/>
              <a:buAutoNum type="arabicPeriod"/>
            </a:pPr>
            <a:r>
              <a:rPr lang="en-US" sz="1500" b="1" dirty="0">
                <a:latin typeface="Calibri" panose="020F0502020204030204" pitchFamily="34" charset="0"/>
                <a:cs typeface="Times New Roman" panose="02020603050405020304" pitchFamily="18" charset="0"/>
              </a:rPr>
              <a:t>29</a:t>
            </a:r>
            <a:r>
              <a:rPr lang="cs-CZ" sz="1500" b="1" dirty="0">
                <a:latin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en-US" sz="1500" b="1" dirty="0">
                <a:latin typeface="Calibri" panose="020F0502020204030204" pitchFamily="34" charset="0"/>
                <a:cs typeface="Times New Roman" panose="02020603050405020304" pitchFamily="18" charset="0"/>
              </a:rPr>
              <a:t>4</a:t>
            </a:r>
            <a:r>
              <a:rPr lang="cs-CZ" sz="1500" b="1" dirty="0">
                <a:latin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cs-CZ" sz="1500" dirty="0">
                <a:solidFill>
                  <a:srgbClr val="00B05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přednáška</a:t>
            </a:r>
          </a:p>
          <a:p>
            <a:pPr marL="342900" indent="-342900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US" sz="15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6</a:t>
            </a:r>
            <a:r>
              <a:rPr lang="cs-CZ" sz="15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5.</a:t>
            </a:r>
            <a:r>
              <a:rPr lang="cs-CZ" sz="15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MNDS, faktorová, korespondenční </a:t>
            </a:r>
            <a:r>
              <a:rPr lang="cs-CZ" sz="15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alýza</a:t>
            </a:r>
            <a:r>
              <a:rPr lang="en-US" sz="15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cs-CZ" sz="15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cs-CZ" sz="15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h cvičení</a:t>
            </a:r>
            <a:r>
              <a:rPr lang="cs-CZ" sz="15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endParaRPr lang="cs-CZ" sz="15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US" sz="15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3</a:t>
            </a:r>
            <a:r>
              <a:rPr lang="cs-CZ" sz="15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5. </a:t>
            </a:r>
            <a:r>
              <a:rPr lang="cs-CZ" sz="15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skriminační analýza</a:t>
            </a:r>
            <a:r>
              <a:rPr lang="en-US" sz="15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cs-CZ" sz="15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cs-CZ" sz="15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h cvičení</a:t>
            </a:r>
            <a:r>
              <a:rPr lang="cs-CZ" sz="15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endParaRPr lang="cs-CZ" sz="15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cs-CZ" sz="15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n-US" sz="1500" b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0</a:t>
            </a:r>
            <a:r>
              <a:rPr lang="cs-CZ" sz="1500" b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cs-CZ" sz="15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5. </a:t>
            </a:r>
            <a:r>
              <a:rPr lang="cs-CZ" sz="1500" dirty="0">
                <a:effectLst/>
                <a:highlight>
                  <a:srgbClr val="00FFFF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ísemka II.</a:t>
            </a:r>
            <a:endParaRPr lang="en-US" sz="1500" dirty="0">
              <a:effectLst/>
              <a:highlight>
                <a:srgbClr val="00FFFF"/>
              </a:highligh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sz="1500" dirty="0"/>
          </a:p>
        </p:txBody>
      </p:sp>
    </p:spTree>
    <p:extLst>
      <p:ext uri="{BB962C8B-B14F-4D97-AF65-F5344CB8AC3E}">
        <p14:creationId xmlns:p14="http://schemas.microsoft.com/office/powerpoint/2010/main" val="11167966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Administrativní">
  <a:themeElements>
    <a:clrScheme name="Administrativní">
      <a:dk1>
        <a:sysClr val="windowText" lastClr="000000"/>
      </a:dk1>
      <a:lt1>
        <a:sysClr val="window" lastClr="FFFFFF"/>
      </a:lt1>
      <a:dk2>
        <a:srgbClr val="646B86"/>
      </a:dk2>
      <a:lt2>
        <a:srgbClr val="C5D1D7"/>
      </a:lt2>
      <a:accent1>
        <a:srgbClr val="D16349"/>
      </a:accent1>
      <a:accent2>
        <a:srgbClr val="CCB400"/>
      </a:accent2>
      <a:accent3>
        <a:srgbClr val="8CADAE"/>
      </a:accent3>
      <a:accent4>
        <a:srgbClr val="8C7B70"/>
      </a:accent4>
      <a:accent5>
        <a:srgbClr val="8FB08C"/>
      </a:accent5>
      <a:accent6>
        <a:srgbClr val="D19049"/>
      </a:accent6>
      <a:hlink>
        <a:srgbClr val="00A3D6"/>
      </a:hlink>
      <a:folHlink>
        <a:srgbClr val="694F07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Administrativní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70000"/>
                <a:satMod val="115000"/>
              </a:schemeClr>
              <a:schemeClr val="phClr">
                <a:tint val="85000"/>
              </a:schemeClr>
            </a:duotone>
          </a:blip>
          <a:tile tx="0" ty="0" sx="85000" sy="85000" flip="none" algn="tl"/>
        </a:blipFill>
        <a:blipFill>
          <a:blip xmlns:r="http://schemas.openxmlformats.org/officeDocument/2006/relationships" r:embed="rId2">
            <a:duotone>
              <a:schemeClr val="phClr">
                <a:shade val="65000"/>
                <a:satMod val="115000"/>
              </a:schemeClr>
              <a:schemeClr val="phClr">
                <a:tint val="85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11904f23-f0db-4cdc-96f7-390bd55fcee8}" enabled="0" method="" siteId="{11904f23-f0db-4cdc-96f7-390bd55fcee8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691</TotalTime>
  <Words>131</Words>
  <Application>Microsoft Office PowerPoint</Application>
  <PresentationFormat>On-screen Show (4:3)</PresentationFormat>
  <Paragraphs>16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Wingdings</vt:lpstr>
      <vt:lpstr>Wingdings 2</vt:lpstr>
      <vt:lpstr>Administrativní</vt:lpstr>
      <vt:lpstr>E8600 + E8601: Osnova předmětu – jaro 2025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rientační plán cvičení</dc:title>
  <dc:creator>Cvanová Michaela RNDr.</dc:creator>
  <cp:lastModifiedBy>Simona Littnerová</cp:lastModifiedBy>
  <cp:revision>24</cp:revision>
  <dcterms:created xsi:type="dcterms:W3CDTF">2022-09-20T08:00:10Z</dcterms:created>
  <dcterms:modified xsi:type="dcterms:W3CDTF">2025-03-11T07:12:29Z</dcterms:modified>
</cp:coreProperties>
</file>